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60" r:id="rId1"/>
  </p:sldMasterIdLst>
  <p:notesMasterIdLst>
    <p:notesMasterId r:id="rId3"/>
  </p:notesMasterIdLst>
  <p:sldIdLst>
    <p:sldId id="2147472380" r:id="rId2"/>
  </p:sldIdLst>
  <p:sldSz cx="18288000" cy="10287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98D9D5"/>
    <a:srgbClr val="E67E22"/>
    <a:srgbClr val="28B1A7"/>
    <a:srgbClr val="19447A"/>
    <a:srgbClr val="409FA6"/>
    <a:srgbClr val="FFFFFF"/>
    <a:srgbClr val="176B86"/>
    <a:srgbClr val="195480"/>
    <a:srgbClr val="24AFA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3072" autoAdjust="0"/>
    <p:restoredTop sz="96247" autoAdjust="0"/>
  </p:normalViewPr>
  <p:slideViewPr>
    <p:cSldViewPr>
      <p:cViewPr varScale="1">
        <p:scale>
          <a:sx n="74" d="100"/>
          <a:sy n="74" d="100"/>
        </p:scale>
        <p:origin x="684" y="84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-13566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54A9DF2-70EC-4B96-A053-2561A61F337D}" type="datetimeFigureOut">
              <a:rPr lang="en-US" smtClean="0"/>
              <a:t>10/6/202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7588163-CFC1-4ACA-9600-FB08ECAA64C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427307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D5D06DE6-9792-C027-9577-AFD1237BD94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88860" y="3866701"/>
            <a:ext cx="8091397" cy="17154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4400" b="1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Presentation Title </a:t>
            </a:r>
          </a:p>
        </p:txBody>
      </p:sp>
      <p:sp>
        <p:nvSpPr>
          <p:cNvPr id="36" name="Text Placeholder 34">
            <a:extLst>
              <a:ext uri="{FF2B5EF4-FFF2-40B4-BE49-F238E27FC236}">
                <a16:creationId xmlns:a16="http://schemas.microsoft.com/office/drawing/2014/main" id="{618FCF8D-01B5-E382-DA13-DA3C3EE912C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88860" y="6057900"/>
            <a:ext cx="8091397" cy="438601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 b="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Date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C6B335A7-6109-B26B-B9B4-4A350117C7B4}"/>
              </a:ext>
            </a:extLst>
          </p:cNvPr>
          <p:cNvGrpSpPr/>
          <p:nvPr userDrawn="1"/>
        </p:nvGrpSpPr>
        <p:grpSpPr>
          <a:xfrm>
            <a:off x="1" y="0"/>
            <a:ext cx="701674" cy="10287000"/>
            <a:chOff x="1" y="0"/>
            <a:chExt cx="974394" cy="10287000"/>
          </a:xfrm>
        </p:grpSpPr>
        <p:sp>
          <p:nvSpPr>
            <p:cNvPr id="41" name="Freeform 4">
              <a:extLst>
                <a:ext uri="{FF2B5EF4-FFF2-40B4-BE49-F238E27FC236}">
                  <a16:creationId xmlns:a16="http://schemas.microsoft.com/office/drawing/2014/main" id="{2ED1CD4F-7C54-9762-2DC4-C4F5F3FA91CE}"/>
                </a:ext>
              </a:extLst>
            </p:cNvPr>
            <p:cNvSpPr/>
            <p:nvPr userDrawn="1"/>
          </p:nvSpPr>
          <p:spPr>
            <a:xfrm>
              <a:off x="649597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248D07B7-AD58-DF23-DDAD-324509531AD6}"/>
                </a:ext>
              </a:extLst>
            </p:cNvPr>
            <p:cNvSpPr/>
            <p:nvPr/>
          </p:nvSpPr>
          <p:spPr>
            <a:xfrm>
              <a:off x="1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0" name="Freeform 4">
              <a:extLst>
                <a:ext uri="{FF2B5EF4-FFF2-40B4-BE49-F238E27FC236}">
                  <a16:creationId xmlns:a16="http://schemas.microsoft.com/office/drawing/2014/main" id="{1A1AEC32-8D76-B228-34DA-4B63537F4B0E}"/>
                </a:ext>
              </a:extLst>
            </p:cNvPr>
            <p:cNvSpPr/>
            <p:nvPr userDrawn="1"/>
          </p:nvSpPr>
          <p:spPr>
            <a:xfrm>
              <a:off x="324799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</p:grpSp>
      <p:sp>
        <p:nvSpPr>
          <p:cNvPr id="18" name="Rectangle: Top Corners Rounded 17">
            <a:extLst>
              <a:ext uri="{FF2B5EF4-FFF2-40B4-BE49-F238E27FC236}">
                <a16:creationId xmlns:a16="http://schemas.microsoft.com/office/drawing/2014/main" id="{3291871F-0CB1-875A-9049-68A6FF376A9F}"/>
              </a:ext>
            </a:extLst>
          </p:cNvPr>
          <p:cNvSpPr/>
          <p:nvPr userDrawn="1"/>
        </p:nvSpPr>
        <p:spPr>
          <a:xfrm rot="16200000">
            <a:off x="13724272" y="4965082"/>
            <a:ext cx="8770621" cy="35683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721959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16859250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16859250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05A63069-1EAF-AC1C-97F9-C6A4F1AC74F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0764489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1B8C256F-1E8E-317C-6DDA-154F8353D9A6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18F72F67-E422-837C-5299-028113A715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989837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1B8C256F-1E8E-317C-6DDA-154F8353D9A6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F5E5A91E-2C73-14D1-B898-2EBE3672C0E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189516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9" name="Chart Placeholder 7">
            <a:extLst>
              <a:ext uri="{FF2B5EF4-FFF2-40B4-BE49-F238E27FC236}">
                <a16:creationId xmlns:a16="http://schemas.microsoft.com/office/drawing/2014/main" id="{0D87B413-325F-DFE4-4CD4-DB642FFB8606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93705F-9234-C263-3A1B-3A252A19B0B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190399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5040630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9" name="Chart Placeholder 7">
            <a:extLst>
              <a:ext uri="{FF2B5EF4-FFF2-40B4-BE49-F238E27FC236}">
                <a16:creationId xmlns:a16="http://schemas.microsoft.com/office/drawing/2014/main" id="{0D87B413-325F-DFE4-4CD4-DB642FFB8606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13693140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9366885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A9E0C1D-F688-75FA-168B-CF3FAA201C0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548460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11218918" y="1889655"/>
            <a:ext cx="6354707" cy="7325576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1889655"/>
            <a:ext cx="10230224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5B0F2C62-4F31-15FD-84E2-56D51B71A49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821856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6425564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12136754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55A7FA16-0C02-E692-8526-16F583C3F045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42B77EF-A62E-AAFD-BC1D-629764A00EC2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6425564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9E870889-49DC-DDA8-AC0C-91F97C821391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12136754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7050601D-DC9F-2EFA-8CF3-B8A12ACF30A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454531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074A52-9FFC-AC39-C5C6-B5E84AC597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22253" y="317500"/>
            <a:ext cx="9420224" cy="1266827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242FC55-4D2C-6A55-9DC3-D3F5645AFAB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8122253" y="9520560"/>
            <a:ext cx="7776000" cy="44894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3DAABA0-A95A-CC14-B3A9-50073A443CF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4638F13-1CD3-7690-D13A-99CF303E4C3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7315200" cy="10287000"/>
          </a:xfrm>
          <a:pattFill prst="pct5">
            <a:fgClr>
              <a:schemeClr val="bg1">
                <a:lumMod val="50000"/>
              </a:schemeClr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479370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ivider layout Without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>
            <a:extLst>
              <a:ext uri="{FF2B5EF4-FFF2-40B4-BE49-F238E27FC236}">
                <a16:creationId xmlns:a16="http://schemas.microsoft.com/office/drawing/2014/main" id="{F27702F9-14C8-B23F-35B6-E1E78860A24D}"/>
              </a:ext>
            </a:extLst>
          </p:cNvPr>
          <p:cNvGrpSpPr/>
          <p:nvPr userDrawn="1"/>
        </p:nvGrpSpPr>
        <p:grpSpPr>
          <a:xfrm>
            <a:off x="2" y="0"/>
            <a:ext cx="7120860" cy="10287000"/>
            <a:chOff x="2" y="0"/>
            <a:chExt cx="7120860" cy="10287000"/>
          </a:xfrm>
        </p:grpSpPr>
        <p:sp>
          <p:nvSpPr>
            <p:cNvPr id="31" name="Freeform 9">
              <a:extLst>
                <a:ext uri="{FF2B5EF4-FFF2-40B4-BE49-F238E27FC236}">
                  <a16:creationId xmlns:a16="http://schemas.microsoft.com/office/drawing/2014/main" id="{8CB19401-B083-1E79-EABB-D8B106CA2A34}"/>
                </a:ext>
              </a:extLst>
            </p:cNvPr>
            <p:cNvSpPr/>
            <p:nvPr userDrawn="1"/>
          </p:nvSpPr>
          <p:spPr>
            <a:xfrm rot="10800000" flipH="1">
              <a:off x="504251" y="419100"/>
              <a:ext cx="3906489" cy="7817834"/>
            </a:xfrm>
            <a:custGeom>
              <a:avLst/>
              <a:gdLst>
                <a:gd name="connsiteX0" fmla="*/ 0 w 930096"/>
                <a:gd name="connsiteY0" fmla="*/ 0 h 2407024"/>
                <a:gd name="connsiteX1" fmla="*/ 0 w 930096"/>
                <a:gd name="connsiteY1" fmla="*/ 2407024 h 2407024"/>
                <a:gd name="connsiteX2" fmla="*/ 930096 w 930096"/>
                <a:gd name="connsiteY2" fmla="*/ 1160488 h 2407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30096" h="2407024">
                  <a:moveTo>
                    <a:pt x="0" y="0"/>
                  </a:moveTo>
                  <a:lnTo>
                    <a:pt x="0" y="2407024"/>
                  </a:lnTo>
                  <a:lnTo>
                    <a:pt x="930096" y="1160488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sz="2700" dirty="0"/>
            </a:p>
          </p:txBody>
        </p:sp>
        <p:sp>
          <p:nvSpPr>
            <p:cNvPr id="30" name="Isosceles Triangle 29">
              <a:extLst>
                <a:ext uri="{FF2B5EF4-FFF2-40B4-BE49-F238E27FC236}">
                  <a16:creationId xmlns:a16="http://schemas.microsoft.com/office/drawing/2014/main" id="{993233BA-6AE9-AAB2-C650-6A048F11976A}"/>
                </a:ext>
              </a:extLst>
            </p:cNvPr>
            <p:cNvSpPr/>
            <p:nvPr/>
          </p:nvSpPr>
          <p:spPr>
            <a:xfrm rot="10800000" flipH="1">
              <a:off x="2" y="0"/>
              <a:ext cx="7120860" cy="9037582"/>
            </a:xfrm>
            <a:prstGeom prst="triangle">
              <a:avLst>
                <a:gd name="adj" fmla="val 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  <p:sp>
          <p:nvSpPr>
            <p:cNvPr id="32" name="Isosceles Triangle 31">
              <a:extLst>
                <a:ext uri="{FF2B5EF4-FFF2-40B4-BE49-F238E27FC236}">
                  <a16:creationId xmlns:a16="http://schemas.microsoft.com/office/drawing/2014/main" id="{954E67E5-7524-7C99-9E8B-6F468D17AE8C}"/>
                </a:ext>
              </a:extLst>
            </p:cNvPr>
            <p:cNvSpPr/>
            <p:nvPr/>
          </p:nvSpPr>
          <p:spPr>
            <a:xfrm>
              <a:off x="4" y="6844975"/>
              <a:ext cx="3810858" cy="3442025"/>
            </a:xfrm>
            <a:prstGeom prst="triangle">
              <a:avLst>
                <a:gd name="adj" fmla="val 0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sz="2700" dirty="0"/>
            </a:p>
          </p:txBody>
        </p:sp>
      </p:grp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9CFFF85E-5C4A-67F7-A055-0494CD5AE07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49962" y="4038600"/>
            <a:ext cx="9952038" cy="24765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4400" b="1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5000"/>
            </a:lvl2pPr>
            <a:lvl3pPr marL="914400" indent="0">
              <a:buFontTx/>
              <a:buNone/>
              <a:defRPr sz="5000"/>
            </a:lvl3pPr>
            <a:lvl4pPr marL="1371600" indent="0">
              <a:buFontTx/>
              <a:buNone/>
              <a:defRPr sz="5000"/>
            </a:lvl4pPr>
            <a:lvl5pPr marL="1828800" indent="0">
              <a:buFontTx/>
              <a:buNone/>
              <a:defRPr sz="5000"/>
            </a:lvl5pPr>
          </a:lstStyle>
          <a:p>
            <a:pPr lvl="0"/>
            <a:r>
              <a:rPr lang="en-US" dirty="0"/>
              <a:t>Click to add divider</a:t>
            </a:r>
            <a:br>
              <a:rPr lang="en-US" dirty="0"/>
            </a:br>
            <a:r>
              <a:rPr lang="en-US" dirty="0"/>
              <a:t>page title</a:t>
            </a:r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9F01B70B-B71A-381B-C2D6-7A4F880B9E88}"/>
              </a:ext>
            </a:extLst>
          </p:cNvPr>
          <p:cNvSpPr/>
          <p:nvPr userDrawn="1"/>
        </p:nvSpPr>
        <p:spPr>
          <a:xfrm>
            <a:off x="914400" y="46892"/>
            <a:ext cx="7573108" cy="7737231"/>
          </a:xfrm>
          <a:custGeom>
            <a:avLst/>
            <a:gdLst>
              <a:gd name="connsiteX0" fmla="*/ 140677 w 7573108"/>
              <a:gd name="connsiteY0" fmla="*/ 7643446 h 7737231"/>
              <a:gd name="connsiteX1" fmla="*/ 7573108 w 7573108"/>
              <a:gd name="connsiteY1" fmla="*/ 0 h 7737231"/>
              <a:gd name="connsiteX2" fmla="*/ 5767754 w 7573108"/>
              <a:gd name="connsiteY2" fmla="*/ 0 h 7737231"/>
              <a:gd name="connsiteX3" fmla="*/ 0 w 7573108"/>
              <a:gd name="connsiteY3" fmla="*/ 7737231 h 77372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573108" h="7737231">
                <a:moveTo>
                  <a:pt x="140677" y="7643446"/>
                </a:moveTo>
                <a:lnTo>
                  <a:pt x="7573108" y="0"/>
                </a:lnTo>
                <a:lnTo>
                  <a:pt x="5767754" y="0"/>
                </a:lnTo>
                <a:lnTo>
                  <a:pt x="0" y="7737231"/>
                </a:lnTo>
              </a:path>
            </a:pathLst>
          </a:cu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91AC2CA-45CA-BE3A-B263-1F4D61E70C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6773525" y="9501500"/>
            <a:ext cx="800100" cy="468000"/>
          </a:xfrm>
        </p:spPr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78669969-304E-0F5F-9373-FA14CB53604D}"/>
              </a:ext>
            </a:extLst>
          </p:cNvPr>
          <p:cNvSpPr/>
          <p:nvPr userDrawn="1"/>
        </p:nvSpPr>
        <p:spPr>
          <a:xfrm>
            <a:off x="742950" y="9501500"/>
            <a:ext cx="2381250" cy="551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go Placeholder</a:t>
            </a:r>
          </a:p>
        </p:txBody>
      </p:sp>
    </p:spTree>
    <p:extLst>
      <p:ext uri="{BB962C8B-B14F-4D97-AF65-F5344CB8AC3E}">
        <p14:creationId xmlns:p14="http://schemas.microsoft.com/office/powerpoint/2010/main" val="190095733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D5D06DE6-9792-C027-9577-AFD1237BD94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88860" y="3866701"/>
            <a:ext cx="8091397" cy="17154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4400" b="1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Presentation Title </a:t>
            </a:r>
          </a:p>
        </p:txBody>
      </p:sp>
      <p:sp>
        <p:nvSpPr>
          <p:cNvPr id="36" name="Text Placeholder 34">
            <a:extLst>
              <a:ext uri="{FF2B5EF4-FFF2-40B4-BE49-F238E27FC236}">
                <a16:creationId xmlns:a16="http://schemas.microsoft.com/office/drawing/2014/main" id="{618FCF8D-01B5-E382-DA13-DA3C3EE912C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88860" y="6057900"/>
            <a:ext cx="8091397" cy="438601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 b="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Date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C6B335A7-6109-B26B-B9B4-4A350117C7B4}"/>
              </a:ext>
            </a:extLst>
          </p:cNvPr>
          <p:cNvGrpSpPr/>
          <p:nvPr userDrawn="1"/>
        </p:nvGrpSpPr>
        <p:grpSpPr>
          <a:xfrm>
            <a:off x="1" y="0"/>
            <a:ext cx="701674" cy="10287000"/>
            <a:chOff x="1" y="0"/>
            <a:chExt cx="974394" cy="10287000"/>
          </a:xfrm>
        </p:grpSpPr>
        <p:sp>
          <p:nvSpPr>
            <p:cNvPr id="41" name="Freeform 4">
              <a:extLst>
                <a:ext uri="{FF2B5EF4-FFF2-40B4-BE49-F238E27FC236}">
                  <a16:creationId xmlns:a16="http://schemas.microsoft.com/office/drawing/2014/main" id="{2ED1CD4F-7C54-9762-2DC4-C4F5F3FA91CE}"/>
                </a:ext>
              </a:extLst>
            </p:cNvPr>
            <p:cNvSpPr/>
            <p:nvPr userDrawn="1"/>
          </p:nvSpPr>
          <p:spPr>
            <a:xfrm>
              <a:off x="649597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248D07B7-AD58-DF23-DDAD-324509531AD6}"/>
                </a:ext>
              </a:extLst>
            </p:cNvPr>
            <p:cNvSpPr/>
            <p:nvPr/>
          </p:nvSpPr>
          <p:spPr>
            <a:xfrm>
              <a:off x="1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0" name="Freeform 4">
              <a:extLst>
                <a:ext uri="{FF2B5EF4-FFF2-40B4-BE49-F238E27FC236}">
                  <a16:creationId xmlns:a16="http://schemas.microsoft.com/office/drawing/2014/main" id="{1A1AEC32-8D76-B228-34DA-4B63537F4B0E}"/>
                </a:ext>
              </a:extLst>
            </p:cNvPr>
            <p:cNvSpPr/>
            <p:nvPr userDrawn="1"/>
          </p:nvSpPr>
          <p:spPr>
            <a:xfrm>
              <a:off x="324799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BFB0A42F-E6A3-CB96-9852-85C86F511AD6}"/>
              </a:ext>
            </a:extLst>
          </p:cNvPr>
          <p:cNvGrpSpPr/>
          <p:nvPr userDrawn="1"/>
        </p:nvGrpSpPr>
        <p:grpSpPr>
          <a:xfrm>
            <a:off x="11692218" y="0"/>
            <a:ext cx="6595782" cy="10287000"/>
            <a:chOff x="7794812" y="0"/>
            <a:chExt cx="4397188" cy="6858000"/>
          </a:xfrm>
        </p:grpSpPr>
        <p:sp>
          <p:nvSpPr>
            <p:cNvPr id="9" name="Isosceles Triangle 8">
              <a:extLst>
                <a:ext uri="{FF2B5EF4-FFF2-40B4-BE49-F238E27FC236}">
                  <a16:creationId xmlns:a16="http://schemas.microsoft.com/office/drawing/2014/main" id="{04244303-0891-69A8-2D9D-161F4AE9C4AF}"/>
                </a:ext>
              </a:extLst>
            </p:cNvPr>
            <p:cNvSpPr/>
            <p:nvPr/>
          </p:nvSpPr>
          <p:spPr>
            <a:xfrm flipH="1">
              <a:off x="7794812" y="1371600"/>
              <a:ext cx="4397188" cy="5486400"/>
            </a:xfrm>
            <a:prstGeom prst="triangle">
              <a:avLst>
                <a:gd name="adj" fmla="val 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EAA11CFF-61B1-248D-7099-2F8686DECDAB}"/>
                </a:ext>
              </a:extLst>
            </p:cNvPr>
            <p:cNvSpPr/>
            <p:nvPr/>
          </p:nvSpPr>
          <p:spPr>
            <a:xfrm flipH="1">
              <a:off x="11261904" y="1371600"/>
              <a:ext cx="930096" cy="2407024"/>
            </a:xfrm>
            <a:custGeom>
              <a:avLst/>
              <a:gdLst>
                <a:gd name="connsiteX0" fmla="*/ 0 w 930096"/>
                <a:gd name="connsiteY0" fmla="*/ 0 h 2407024"/>
                <a:gd name="connsiteX1" fmla="*/ 0 w 930096"/>
                <a:gd name="connsiteY1" fmla="*/ 2407024 h 2407024"/>
                <a:gd name="connsiteX2" fmla="*/ 930096 w 930096"/>
                <a:gd name="connsiteY2" fmla="*/ 1160488 h 2407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30096" h="2407024">
                  <a:moveTo>
                    <a:pt x="0" y="0"/>
                  </a:moveTo>
                  <a:lnTo>
                    <a:pt x="0" y="2407024"/>
                  </a:lnTo>
                  <a:lnTo>
                    <a:pt x="930096" y="1160488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  <p:sp>
          <p:nvSpPr>
            <p:cNvPr id="11" name="Isosceles Triangle 10">
              <a:extLst>
                <a:ext uri="{FF2B5EF4-FFF2-40B4-BE49-F238E27FC236}">
                  <a16:creationId xmlns:a16="http://schemas.microsoft.com/office/drawing/2014/main" id="{606BB107-8387-8780-6BFC-A3410E9BB552}"/>
                </a:ext>
              </a:extLst>
            </p:cNvPr>
            <p:cNvSpPr/>
            <p:nvPr/>
          </p:nvSpPr>
          <p:spPr>
            <a:xfrm rot="10800000">
              <a:off x="9838765" y="0"/>
              <a:ext cx="2353235" cy="3778624"/>
            </a:xfrm>
            <a:prstGeom prst="triangle">
              <a:avLst>
                <a:gd name="adj" fmla="val 0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</p:grpSp>
    </p:spTree>
    <p:extLst>
      <p:ext uri="{BB962C8B-B14F-4D97-AF65-F5344CB8AC3E}">
        <p14:creationId xmlns:p14="http://schemas.microsoft.com/office/powerpoint/2010/main" val="78333432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4375" y="1889656"/>
            <a:ext cx="16859250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222D0E30-8C97-0C62-9094-8D3CF38657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6360057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/3 Chart and 1/3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197654" y="1889656"/>
            <a:ext cx="5375970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18B54F4-3212-393D-A934-571F2F7EC9D6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14375" y="1889656"/>
            <a:ext cx="11026079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1303149-442B-8EAA-BA7D-E9F6CCBA736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246866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/2 Chart and 1/2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4375" y="317500"/>
            <a:ext cx="16859250" cy="1266827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372600" y="1889656"/>
            <a:ext cx="8201025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18B54F4-3212-393D-A934-571F2F7EC9D6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14375" y="1889656"/>
            <a:ext cx="8201025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851410E-3F60-2499-76A8-F25BD0C1A9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707250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53A7D6DD-B72F-C610-7786-CA13806E481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768487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9" name="Picture Placeholder 13">
            <a:extLst>
              <a:ext uri="{FF2B5EF4-FFF2-40B4-BE49-F238E27FC236}">
                <a16:creationId xmlns:a16="http://schemas.microsoft.com/office/drawing/2014/main" id="{9D74F7B4-56BE-27DF-FDAA-A1BCDA9A8F0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630550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0" name="Picture Placeholder 13">
            <a:extLst>
              <a:ext uri="{FF2B5EF4-FFF2-40B4-BE49-F238E27FC236}">
                <a16:creationId xmlns:a16="http://schemas.microsoft.com/office/drawing/2014/main" id="{0C3A3381-05D7-EDB1-879C-6EB643DC259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428479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1" name="Picture Placeholder 13">
            <a:extLst>
              <a:ext uri="{FF2B5EF4-FFF2-40B4-BE49-F238E27FC236}">
                <a16:creationId xmlns:a16="http://schemas.microsoft.com/office/drawing/2014/main" id="{3D2462CD-6AA5-05E5-182A-40899E86BAD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0226408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2" name="Picture Placeholder 13">
            <a:extLst>
              <a:ext uri="{FF2B5EF4-FFF2-40B4-BE49-F238E27FC236}">
                <a16:creationId xmlns:a16="http://schemas.microsoft.com/office/drawing/2014/main" id="{BA0F11DD-391D-B2C8-92A6-95898DED8AA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4024336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7" name="Picture Placeholder 13">
            <a:extLst>
              <a:ext uri="{FF2B5EF4-FFF2-40B4-BE49-F238E27FC236}">
                <a16:creationId xmlns:a16="http://schemas.microsoft.com/office/drawing/2014/main" id="{A5B87F88-1840-FD6F-7724-6FBDEB1A574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2630550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8" name="Picture Placeholder 13">
            <a:extLst>
              <a:ext uri="{FF2B5EF4-FFF2-40B4-BE49-F238E27FC236}">
                <a16:creationId xmlns:a16="http://schemas.microsoft.com/office/drawing/2014/main" id="{A7D84A63-B331-8622-DDC5-4D5301BF64AE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428479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9" name="Picture Placeholder 13">
            <a:extLst>
              <a:ext uri="{FF2B5EF4-FFF2-40B4-BE49-F238E27FC236}">
                <a16:creationId xmlns:a16="http://schemas.microsoft.com/office/drawing/2014/main" id="{77DEBFB9-8C26-FDCE-39F7-E63395BC7EB5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10226408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30" name="Picture Placeholder 13">
            <a:extLst>
              <a:ext uri="{FF2B5EF4-FFF2-40B4-BE49-F238E27FC236}">
                <a16:creationId xmlns:a16="http://schemas.microsoft.com/office/drawing/2014/main" id="{44BA52C7-035F-7148-BCE9-2371B4EBE33A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14024336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F14FA3A6-A823-22B9-EE66-97CF5C1DEA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982090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am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5" name="Picture Placeholder 9">
            <a:extLst>
              <a:ext uri="{FF2B5EF4-FFF2-40B4-BE49-F238E27FC236}">
                <a16:creationId xmlns:a16="http://schemas.microsoft.com/office/drawing/2014/main" id="{5464D427-2C6E-5D04-E3B7-B54B4CFF37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14374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6" name="Picture Placeholder 9">
            <a:extLst>
              <a:ext uri="{FF2B5EF4-FFF2-40B4-BE49-F238E27FC236}">
                <a16:creationId xmlns:a16="http://schemas.microsoft.com/office/drawing/2014/main" id="{1A55B09E-E458-56A4-BEBD-E3518AA50AB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043486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7" name="Picture Placeholder 9">
            <a:extLst>
              <a:ext uri="{FF2B5EF4-FFF2-40B4-BE49-F238E27FC236}">
                <a16:creationId xmlns:a16="http://schemas.microsoft.com/office/drawing/2014/main" id="{D9712A65-1E55-1AAC-1F49-8686E5090E4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9372598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8" name="Picture Placeholder 9">
            <a:extLst>
              <a:ext uri="{FF2B5EF4-FFF2-40B4-BE49-F238E27FC236}">
                <a16:creationId xmlns:a16="http://schemas.microsoft.com/office/drawing/2014/main" id="{138BBE78-D23B-C548-90A3-628D17816A8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3701711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1C935983-7755-5154-519D-9FE5EBA80E6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443528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*3 Grid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100000"/>
              </a:lnSpc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82BE1B0A-3EFA-CDCD-ACC1-0E1BD80F69D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01675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63077C04-EE84-814F-7B2F-0CC65C0D53C1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714375" y="1889656"/>
            <a:ext cx="5436871" cy="521565"/>
          </a:xfrm>
          <a:solidFill>
            <a:schemeClr val="accent1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6293B461-3AC5-965C-0E00-0FEB9D48CE4B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425564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27D520F5-6EC0-AC8D-1668-71F10795B5C4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425564" y="1894624"/>
            <a:ext cx="5436871" cy="521565"/>
          </a:xfrm>
          <a:solidFill>
            <a:schemeClr val="accent2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A08B1C77-9500-179A-EE6E-18BD895ED017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12136754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2B8B7790-3428-1A55-8625-94F1FC2419D2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12136754" y="1894624"/>
            <a:ext cx="5436871" cy="521565"/>
          </a:xfrm>
          <a:solidFill>
            <a:schemeClr val="accent3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tx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1A4714B2-4ED7-3602-5E04-E68455AC5979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701675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5916D0D2-1072-1B37-B2A3-E84B806E1C92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714375" y="5689604"/>
            <a:ext cx="5436871" cy="521565"/>
          </a:xfrm>
          <a:solidFill>
            <a:schemeClr val="accent1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49F92FDE-4A52-5B65-C311-BCA14C41BB6A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6425564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36A15F03-CC85-9E5B-73B8-2E73B47E40CA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425564" y="5689604"/>
            <a:ext cx="5436871" cy="521565"/>
          </a:xfrm>
          <a:solidFill>
            <a:schemeClr val="accent2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49A53EF9-EA9A-60BD-3F5E-3045DE69141C}"/>
              </a:ext>
            </a:extLst>
          </p:cNvPr>
          <p:cNvSpPr>
            <a:spLocks noGrp="1"/>
          </p:cNvSpPr>
          <p:nvPr>
            <p:ph idx="22"/>
          </p:nvPr>
        </p:nvSpPr>
        <p:spPr>
          <a:xfrm>
            <a:off x="12136754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79413566-88CF-1923-92B0-48B2B74519A2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12136754" y="5689604"/>
            <a:ext cx="5436871" cy="521565"/>
          </a:xfrm>
          <a:solidFill>
            <a:schemeClr val="accent3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tx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05ACDC91-19E7-0788-BDCD-F383247D74F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818466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F66BD8F-401F-2DBF-0BEE-85CAEC4F13C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6355848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1" imgW="347" imgH="348" progId="TCLayout.ActiveDocument.1">
                  <p:embed/>
                </p:oleObj>
              </mc:Choice>
              <mc:Fallback>
                <p:oleObj name="think-cell Slide" r:id="rId21" imgW="347" imgH="34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F66BD8F-401F-2DBF-0BEE-85CAEC4F13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E4C60E1-108D-7890-2148-7CDB8BD502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4375" y="317500"/>
            <a:ext cx="16859250" cy="1266827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527DE4-6E8F-79F4-2C2B-8BC05FCBFF9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14375" y="1889656"/>
            <a:ext cx="16859250" cy="732557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08E5665-37C2-54D6-D1C6-35E05DF839D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6773525" y="9501500"/>
            <a:ext cx="800100" cy="46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1" name="Rectangle: Top Corners Rounded 20">
            <a:extLst>
              <a:ext uri="{FF2B5EF4-FFF2-40B4-BE49-F238E27FC236}">
                <a16:creationId xmlns:a16="http://schemas.microsoft.com/office/drawing/2014/main" id="{959F2CA7-B6BF-8125-5E2E-6835373F22E4}"/>
              </a:ext>
            </a:extLst>
          </p:cNvPr>
          <p:cNvSpPr/>
          <p:nvPr userDrawn="1"/>
        </p:nvSpPr>
        <p:spPr>
          <a:xfrm rot="5400000" flipH="1">
            <a:off x="-492444" y="809943"/>
            <a:ext cx="1289687" cy="30480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3D220426-4054-0550-CCFE-D2AFE3352B7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505200" y="9520560"/>
            <a:ext cx="8466600" cy="44894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EAC737F1-E18A-A2F6-7406-C694B5585016}"/>
              </a:ext>
            </a:extLst>
          </p:cNvPr>
          <p:cNvSpPr/>
          <p:nvPr userDrawn="1"/>
        </p:nvSpPr>
        <p:spPr>
          <a:xfrm>
            <a:off x="742950" y="9501500"/>
            <a:ext cx="2381250" cy="551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go Placeholder</a:t>
            </a:r>
          </a:p>
        </p:txBody>
      </p:sp>
    </p:spTree>
    <p:extLst>
      <p:ext uri="{BB962C8B-B14F-4D97-AF65-F5344CB8AC3E}">
        <p14:creationId xmlns:p14="http://schemas.microsoft.com/office/powerpoint/2010/main" val="28732720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685" r:id="rId2"/>
    <p:sldLayoutId id="2147483662" r:id="rId3"/>
    <p:sldLayoutId id="2147483695" r:id="rId4"/>
    <p:sldLayoutId id="2147483696" r:id="rId5"/>
    <p:sldLayoutId id="2147483676" r:id="rId6"/>
    <p:sldLayoutId id="2147483697" r:id="rId7"/>
    <p:sldLayoutId id="2147483698" r:id="rId8"/>
    <p:sldLayoutId id="2147483678" r:id="rId9"/>
    <p:sldLayoutId id="2147483679" r:id="rId10"/>
    <p:sldLayoutId id="2147483681" r:id="rId11"/>
    <p:sldLayoutId id="2147483682" r:id="rId12"/>
    <p:sldLayoutId id="2147483683" r:id="rId13"/>
    <p:sldLayoutId id="2147483684" r:id="rId14"/>
    <p:sldLayoutId id="2147483680" r:id="rId15"/>
    <p:sldLayoutId id="2147483688" r:id="rId16"/>
    <p:sldLayoutId id="2147483692" r:id="rId17"/>
    <p:sldLayoutId id="2147483701" r:id="rId18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4000" b="1" kern="1200">
          <a:solidFill>
            <a:schemeClr val="accent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1pPr>
    </p:titleStyle>
    <p:bodyStyle>
      <a:lvl1pPr marL="36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1pPr>
      <a:lvl2pPr marL="72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2pPr>
      <a:lvl3pPr marL="108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3pPr>
      <a:lvl4pPr marL="144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4pPr>
      <a:lvl5pPr marL="180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02" userDrawn="1">
          <p15:clr>
            <a:srgbClr val="F26B43"/>
          </p15:clr>
        </p15:guide>
        <p15:guide id="2" pos="442" userDrawn="1">
          <p15:clr>
            <a:srgbClr val="F26B43"/>
          </p15:clr>
        </p15:guide>
        <p15:guide id="3" pos="11078" userDrawn="1">
          <p15:clr>
            <a:srgbClr val="F26B43"/>
          </p15:clr>
        </p15:guide>
        <p15:guide id="4" orient="horz" pos="1008" userDrawn="1">
          <p15:clr>
            <a:srgbClr val="F26B43"/>
          </p15:clr>
        </p15:guide>
        <p15:guide id="5" orient="horz" pos="1190" userDrawn="1">
          <p15:clr>
            <a:srgbClr val="F26B43"/>
          </p15:clr>
        </p15:guide>
        <p15:guide id="6" orient="horz" pos="6278" userDrawn="1">
          <p15:clr>
            <a:srgbClr val="F26B43"/>
          </p15:clr>
        </p15:guide>
        <p15:guide id="7" orient="horz" pos="581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675A5B7-347D-23EB-CE73-93ED441558A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FC039040-4891-1C99-1874-81A0D662801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49962" y="4038600"/>
            <a:ext cx="9952038" cy="2476500"/>
          </a:xfrm>
        </p:spPr>
        <p:txBody>
          <a:bodyPr/>
          <a:lstStyle/>
          <a:p>
            <a:r>
              <a:rPr lang="en-US" dirty="0"/>
              <a:t>Quantitative Slides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0DB29B05-280F-7E31-E93B-D3D8E1B00C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7192539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ustom Design">
  <a:themeElements>
    <a:clrScheme name="AnalystAcademy">
      <a:dk1>
        <a:sysClr val="windowText" lastClr="000000"/>
      </a:dk1>
      <a:lt1>
        <a:sysClr val="window" lastClr="FFFFFF"/>
      </a:lt1>
      <a:dk2>
        <a:srgbClr val="121418"/>
      </a:dk2>
      <a:lt2>
        <a:srgbClr val="FFFFFF"/>
      </a:lt2>
      <a:accent1>
        <a:srgbClr val="04162B"/>
      </a:accent1>
      <a:accent2>
        <a:srgbClr val="359CD5"/>
      </a:accent2>
      <a:accent3>
        <a:srgbClr val="DCDCDC"/>
      </a:accent3>
      <a:accent4>
        <a:srgbClr val="5C946E"/>
      </a:accent4>
      <a:accent5>
        <a:srgbClr val="F4B400"/>
      </a:accent5>
      <a:accent6>
        <a:srgbClr val="E67E22"/>
      </a:accent6>
      <a:hlink>
        <a:srgbClr val="002060"/>
      </a:hlink>
      <a:folHlink>
        <a:srgbClr val="0070C0"/>
      </a:folHlink>
    </a:clrScheme>
    <a:fontScheme name="Analyst Academy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dirty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891</TotalTime>
  <Words>3</Words>
  <Application>Microsoft Office PowerPoint</Application>
  <PresentationFormat>Custom</PresentationFormat>
  <Paragraphs>2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ptos</vt:lpstr>
      <vt:lpstr>Symbol</vt:lpstr>
      <vt:lpstr>Arial</vt:lpstr>
      <vt:lpstr>Custom Design</vt:lpstr>
      <vt:lpstr>think-cell Slide</vt:lpstr>
      <vt:lpstr>PowerPoint Presentation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nalyst Academy Template</dc:title>
  <dc:subject/>
  <dc:creator>Analyst Academy LLC</dc:creator>
  <cp:keywords/>
  <dc:description/>
  <cp:lastModifiedBy>Diam Cabatay</cp:lastModifiedBy>
  <cp:revision>279</cp:revision>
  <dcterms:created xsi:type="dcterms:W3CDTF">2006-08-16T00:00:00Z</dcterms:created>
  <dcterms:modified xsi:type="dcterms:W3CDTF">2025-10-06T08:54:43Z</dcterms:modified>
  <cp:category/>
  <dc:identifier>DAGkDf5R9EM</dc:identifier>
</cp:coreProperties>
</file>